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32"/>
  </p:notesMasterIdLst>
  <p:sldIdLst>
    <p:sldId id="273" r:id="rId5"/>
    <p:sldId id="258" r:id="rId6"/>
    <p:sldId id="331" r:id="rId7"/>
    <p:sldId id="309" r:id="rId8"/>
    <p:sldId id="308" r:id="rId9"/>
    <p:sldId id="310" r:id="rId10"/>
    <p:sldId id="311" r:id="rId11"/>
    <p:sldId id="312" r:id="rId12"/>
    <p:sldId id="313" r:id="rId13"/>
    <p:sldId id="314" r:id="rId14"/>
    <p:sldId id="330" r:id="rId15"/>
    <p:sldId id="298" r:id="rId16"/>
    <p:sldId id="315" r:id="rId17"/>
    <p:sldId id="316" r:id="rId18"/>
    <p:sldId id="317" r:id="rId19"/>
    <p:sldId id="318" r:id="rId20"/>
    <p:sldId id="319" r:id="rId21"/>
    <p:sldId id="320" r:id="rId22"/>
    <p:sldId id="321" r:id="rId23"/>
    <p:sldId id="322" r:id="rId24"/>
    <p:sldId id="327" r:id="rId25"/>
    <p:sldId id="323" r:id="rId26"/>
    <p:sldId id="328" r:id="rId27"/>
    <p:sldId id="325" r:id="rId28"/>
    <p:sldId id="329" r:id="rId29"/>
    <p:sldId id="287" r:id="rId30"/>
    <p:sldId id="286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75" autoAdjust="0"/>
    <p:restoredTop sz="95226" autoAdjust="0"/>
  </p:normalViewPr>
  <p:slideViewPr>
    <p:cSldViewPr>
      <p:cViewPr varScale="1">
        <p:scale>
          <a:sx n="82" d="100"/>
          <a:sy n="82" d="100"/>
        </p:scale>
        <p:origin x="1738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/>
              <a:t>Ask:  Who </a:t>
            </a:r>
            <a:r>
              <a:rPr lang="es-CL" dirty="0" err="1"/>
              <a:t>watched</a:t>
            </a:r>
            <a:r>
              <a:rPr lang="es-CL" dirty="0"/>
              <a:t> </a:t>
            </a:r>
            <a:r>
              <a:rPr lang="es-CL" dirty="0" err="1"/>
              <a:t>this</a:t>
            </a:r>
            <a:r>
              <a:rPr lang="es-CL" dirty="0"/>
              <a:t> </a:t>
            </a:r>
            <a:r>
              <a:rPr lang="es-CL" dirty="0" err="1"/>
              <a:t>week</a:t>
            </a:r>
            <a:r>
              <a:rPr lang="es-CL" dirty="0"/>
              <a:t> video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703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698" r:id="rId7"/>
    <p:sldLayoutId id="2147483700" r:id="rId8"/>
    <p:sldLayoutId id="2147483701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mathbootcamps.com/what-is-a-p-value/" TargetMode="Externa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cision Trees and Random Forest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21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478A355-6264-4ECA-BEB0-D4F94A278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1957329"/>
            <a:ext cx="6019800" cy="2943342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B291272D-2924-4BA5-A8EE-37FD4497C1DA}"/>
              </a:ext>
            </a:extLst>
          </p:cNvPr>
          <p:cNvSpPr/>
          <p:nvPr/>
        </p:nvSpPr>
        <p:spPr bwMode="auto">
          <a:xfrm>
            <a:off x="990600" y="3567073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8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F0ADC56-75E4-422C-8E55-24EA27376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208" y="1371600"/>
            <a:ext cx="7637584" cy="43434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9007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Multiple Linear Regre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220A3-DFB7-4102-9BCE-448475277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28628"/>
            <a:ext cx="8229600" cy="360074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8C2A674-2966-4691-BB35-9547D6D28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56" y="1637929"/>
            <a:ext cx="8906644" cy="368141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ED8B103-50B4-440A-BDC4-8175C7716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141" y="1296670"/>
            <a:ext cx="8279882" cy="409207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233826A-8F2E-44FB-A7C4-96B9C80D94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2400" y="1066800"/>
            <a:ext cx="2971800" cy="3189692"/>
          </a:xfrm>
          <a:prstGeom prst="rect">
            <a:avLst/>
          </a:prstGeom>
        </p:spPr>
      </p:pic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43FB8969-4193-4907-91DD-66F21F3A9980}"/>
              </a:ext>
            </a:extLst>
          </p:cNvPr>
          <p:cNvSpPr/>
          <p:nvPr/>
        </p:nvSpPr>
        <p:spPr bwMode="auto">
          <a:xfrm>
            <a:off x="355082" y="5276818"/>
            <a:ext cx="2616718" cy="9895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the Dummy Variable Trap, and how to avoid it?</a:t>
            </a:r>
          </a:p>
          <a:p>
            <a:pPr algn="just"/>
            <a:r>
              <a:rPr lang="en-US" sz="1400" kern="0" dirty="0"/>
              <a:t>Hint: Multicollinearit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: esquinas redondeadas 4">
            <a:extLst>
              <a:ext uri="{FF2B5EF4-FFF2-40B4-BE49-F238E27FC236}">
                <a16:creationId xmlns:a16="http://schemas.microsoft.com/office/drawing/2014/main" id="{B98C16B0-F232-4769-8F9C-A0F5C2032D4F}"/>
              </a:ext>
            </a:extLst>
          </p:cNvPr>
          <p:cNvSpPr/>
          <p:nvPr/>
        </p:nvSpPr>
        <p:spPr bwMode="auto">
          <a:xfrm>
            <a:off x="3154467" y="5214572"/>
            <a:ext cx="5893318" cy="72277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P-value? </a:t>
            </a:r>
            <a:r>
              <a:rPr lang="en-US" sz="1400" dirty="0">
                <a:hlinkClick r:id="rId6"/>
              </a:rPr>
              <a:t>https://www.mathbootcamps.com/what-is-a-p-value/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2AE3B12E-BC7C-4A21-A96C-4CA9E0E76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ow to build a model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68E319B-299B-485A-8D92-8094AD1BF5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82" y="1784370"/>
            <a:ext cx="7772400" cy="328926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F3A756D-CA4B-4400-9101-167C8F724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4123"/>
            <a:ext cx="9022081" cy="308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8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Backward</a:t>
            </a:r>
            <a:r>
              <a:rPr lang="es-CL" dirty="0"/>
              <a:t> </a:t>
            </a:r>
            <a:r>
              <a:rPr lang="es-CL" dirty="0" err="1"/>
              <a:t>Elimina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maintain the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 all the predictors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highest</a:t>
            </a:r>
            <a:r>
              <a:rPr lang="en-US" sz="1600" kern="0" dirty="0"/>
              <a:t> P-value. Only if P-value is over SL, go to step 4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2514600" y="45957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3124200" y="4690683"/>
            <a:ext cx="22860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Remove the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A95FEC81-75AF-4883-8E17-475CEEA6F713}"/>
              </a:ext>
            </a:extLst>
          </p:cNvPr>
          <p:cNvSpPr/>
          <p:nvPr/>
        </p:nvSpPr>
        <p:spPr bwMode="auto">
          <a:xfrm>
            <a:off x="3788617" y="525730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F7BBFD22-3D19-4965-8D31-78090698CEEA}"/>
              </a:ext>
            </a:extLst>
          </p:cNvPr>
          <p:cNvSpPr/>
          <p:nvPr/>
        </p:nvSpPr>
        <p:spPr bwMode="auto">
          <a:xfrm>
            <a:off x="2628157" y="5684117"/>
            <a:ext cx="3429002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out the variable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1801B0B1-0FC1-407E-9046-4E5DAC840BC6}"/>
              </a:ext>
            </a:extLst>
          </p:cNvPr>
          <p:cNvSpPr/>
          <p:nvPr/>
        </p:nvSpPr>
        <p:spPr>
          <a:xfrm>
            <a:off x="2133600" y="5550976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5</a:t>
            </a:r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155025" flipV="1">
            <a:off x="1194006" y="4199175"/>
            <a:ext cx="326181" cy="1590889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261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0" grpId="0" animBg="1"/>
      <p:bldP spid="21" grpId="0" animBg="1"/>
      <p:bldP spid="22" grpId="0"/>
      <p:bldP spid="2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/>
              <a:t>Forward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enter a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7696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all Simple Linear Regression Models and select the one with the lowest P-value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Keep this variable and fit all the possible models with one extra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57568" y="48175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107443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lowest</a:t>
            </a:r>
            <a:r>
              <a:rPr lang="en-US" sz="1600" kern="0" dirty="0"/>
              <a:t> P-value. Only if P-value is under SL, go to step 3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439525" flipV="1">
            <a:off x="773552" y="4063319"/>
            <a:ext cx="362087" cy="95060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6493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Stepwise</a:t>
            </a:r>
            <a:r>
              <a:rPr lang="es-CL" dirty="0"/>
              <a:t>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6553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L to enter a variable in the model and also a SL to stay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599" y="2458764"/>
            <a:ext cx="7845257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the next step of forward selection (New variables will need a P-Value &lt; SL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1651300" y="3447363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2422456" y="3419323"/>
            <a:ext cx="4821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all the steps of Backward Elimination (Old variables will need a P-Value &gt; SL to stay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74018" y="4664431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6463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No new variables can enter and no old variables can exit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8328025" flipV="1">
            <a:off x="977287" y="2877391"/>
            <a:ext cx="261731" cy="954398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68BEC879-D26E-4EE8-8571-D63E3CBEF2DA}"/>
              </a:ext>
            </a:extLst>
          </p:cNvPr>
          <p:cNvSpPr/>
          <p:nvPr/>
        </p:nvSpPr>
        <p:spPr bwMode="auto">
          <a:xfrm>
            <a:off x="3800454" y="544073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4556BC6-CC6B-4EB3-8F90-34B6D52790FF}"/>
              </a:ext>
            </a:extLst>
          </p:cNvPr>
          <p:cNvSpPr/>
          <p:nvPr/>
        </p:nvSpPr>
        <p:spPr bwMode="auto">
          <a:xfrm>
            <a:off x="2835590" y="5782349"/>
            <a:ext cx="2253617" cy="51384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he model is read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4E2CC-4870-4337-8C9F-FAADB2E27BDD}"/>
              </a:ext>
            </a:extLst>
          </p:cNvPr>
          <p:cNvSpPr/>
          <p:nvPr/>
        </p:nvSpPr>
        <p:spPr>
          <a:xfrm>
            <a:off x="322569" y="1317945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530557A9-07CB-4A8A-BA6E-89840BDE5569}"/>
              </a:ext>
            </a:extLst>
          </p:cNvPr>
          <p:cNvSpPr/>
          <p:nvPr/>
        </p:nvSpPr>
        <p:spPr bwMode="auto">
          <a:xfrm>
            <a:off x="5436185" y="5513238"/>
            <a:ext cx="3200400" cy="72875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What is AIC?</a:t>
            </a:r>
          </a:p>
          <a:p>
            <a:pPr algn="just"/>
            <a:r>
              <a:rPr lang="en-US" sz="1600" kern="0" dirty="0"/>
              <a:t>And BIC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8998964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  <p:bldP spid="20" grpId="0" animBg="1"/>
      <p:bldP spid="21" grpId="0" animBg="1"/>
      <p:bldP spid="22" grpId="0"/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988" y="1421574"/>
            <a:ext cx="2867025" cy="93345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4" y="144400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773622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E52A2B9-3C51-4207-ABE7-515B8D70F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88" y="2765139"/>
            <a:ext cx="4152900" cy="9620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01EC6C7-0660-44EE-B373-AAD67DF8B9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385" y="1364498"/>
            <a:ext cx="3987113" cy="236266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6BEDAAD-D390-4397-8C6E-B1BB0FDDD3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21" y="4331887"/>
            <a:ext cx="4693693" cy="1235272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4456573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0635BBFC-DC35-40A3-85E1-2259E22790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9407" y="3986795"/>
            <a:ext cx="3451091" cy="182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3" y="147307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698696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3784238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56B123C-D189-44C3-B2A4-A6283BE48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909" y="1580659"/>
            <a:ext cx="7383891" cy="78667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1DDB0DB-2E05-4638-A5FE-9DD128604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20" y="2722128"/>
            <a:ext cx="4945491" cy="91440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41E4C5A8-8B6F-44CD-9564-8BA0B2FE8386}"/>
              </a:ext>
            </a:extLst>
          </p:cNvPr>
          <p:cNvSpPr/>
          <p:nvPr/>
        </p:nvSpPr>
        <p:spPr bwMode="auto">
          <a:xfrm>
            <a:off x="5976285" y="2474622"/>
            <a:ext cx="2895600" cy="12917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Do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any</a:t>
            </a:r>
            <a:r>
              <a:rPr lang="es-CL" sz="1400" kern="0" dirty="0"/>
              <a:t> </a:t>
            </a:r>
            <a:r>
              <a:rPr lang="es-CL" sz="1400" kern="0" dirty="0" err="1"/>
              <a:t>similarity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SLR?</a:t>
            </a:r>
          </a:p>
          <a:p>
            <a:pPr algn="just"/>
            <a:endParaRPr lang="es-CL" sz="1400" kern="0" dirty="0"/>
          </a:p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us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feature</a:t>
            </a:r>
            <a:r>
              <a:rPr lang="es-CL" sz="1400" kern="0" dirty="0"/>
              <a:t> </a:t>
            </a:r>
            <a:r>
              <a:rPr lang="es-CL" sz="1400" kern="0" dirty="0" err="1"/>
              <a:t>selection</a:t>
            </a:r>
            <a:r>
              <a:rPr lang="es-CL" sz="1400" kern="0" dirty="0"/>
              <a:t> </a:t>
            </a:r>
            <a:r>
              <a:rPr lang="es-CL" sz="1400" kern="0" dirty="0" err="1"/>
              <a:t>cod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1BD8A4B-5942-477C-9B66-3923E202C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909" y="3909959"/>
            <a:ext cx="3505200" cy="676275"/>
          </a:xfrm>
          <a:prstGeom prst="rect">
            <a:avLst/>
          </a:prstGeom>
        </p:spPr>
      </p:pic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F19954E-FA22-4CC9-90D1-909997B885FD}"/>
              </a:ext>
            </a:extLst>
          </p:cNvPr>
          <p:cNvSpPr/>
          <p:nvPr/>
        </p:nvSpPr>
        <p:spPr bwMode="auto">
          <a:xfrm>
            <a:off x="950120" y="5055721"/>
            <a:ext cx="3418829" cy="83099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the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use a </a:t>
            </a:r>
            <a:r>
              <a:rPr lang="es-CL" sz="1400" kern="0" dirty="0" err="1"/>
              <a:t>visualization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compare </a:t>
            </a:r>
            <a:r>
              <a:rPr lang="es-CL" sz="1400" kern="0" dirty="0" err="1"/>
              <a:t>y_test</a:t>
            </a:r>
            <a:r>
              <a:rPr lang="es-CL" sz="1400" kern="0" dirty="0"/>
              <a:t> (y)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y_pred</a:t>
            </a:r>
            <a:r>
              <a:rPr lang="es-CL" sz="1400" kern="0" dirty="0"/>
              <a:t> (y’)?</a:t>
            </a:r>
            <a:endParaRPr lang="en-US" sz="1400" kern="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DF5468B-3189-4FBF-9E05-25DF91CBF9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1200" y="3909959"/>
            <a:ext cx="819789" cy="20752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C5BA1893-5166-4549-BC0E-142C9C2B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3277" y="3909959"/>
            <a:ext cx="823248" cy="2075272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963D3F64-C381-4E92-A800-1525B233257C}"/>
              </a:ext>
            </a:extLst>
          </p:cNvPr>
          <p:cNvSpPr/>
          <p:nvPr/>
        </p:nvSpPr>
        <p:spPr>
          <a:xfrm>
            <a:off x="4891271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C437AEA9-964F-4797-AE79-86FD91540748}"/>
              </a:ext>
            </a:extLst>
          </p:cNvPr>
          <p:cNvSpPr/>
          <p:nvPr/>
        </p:nvSpPr>
        <p:spPr>
          <a:xfrm>
            <a:off x="6725756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’</a:t>
            </a:r>
          </a:p>
        </p:txBody>
      </p:sp>
    </p:spTree>
    <p:extLst>
      <p:ext uri="{BB962C8B-B14F-4D97-AF65-F5344CB8AC3E}">
        <p14:creationId xmlns:p14="http://schemas.microsoft.com/office/powerpoint/2010/main" val="280094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  <p:bldP spid="19" grpId="0" animBg="1"/>
      <p:bldP spid="21" grpId="0" animBg="1"/>
      <p:bldP spid="22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7891A50-C9F9-43FB-93A0-63AD8E99CD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BEF16EF-AA1D-4C12-B975-D5B3E6F20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18D47-4CA3-48D2-8B3D-B264C4C46E2D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Backward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Eliminat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0C9523D-5B50-4903-9AF1-6CFDDED69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877" y="2033424"/>
            <a:ext cx="4240187" cy="279782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5E7E6C6-FFB7-40D1-B20D-AD58EFEE7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8720" y="2275652"/>
            <a:ext cx="3670276" cy="2667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37D9988-1842-4775-9F8D-1A741A6411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401" y="2339660"/>
            <a:ext cx="3856156" cy="27432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9C2A68F-E933-4C0D-913A-55DD40968B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0135" y="2399497"/>
            <a:ext cx="4012689" cy="27432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109F376-62A6-462B-9026-567B6A97C3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6090" y="2511089"/>
            <a:ext cx="4311923" cy="279772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0BF2B4C-CFA5-41A3-A37F-775E533BE5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6090" y="2468912"/>
            <a:ext cx="4444624" cy="281165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8A419EC-9FD6-4A4E-98C7-0E37D93384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7273" y="2411337"/>
            <a:ext cx="4445960" cy="284320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70887DA8-3E2F-434C-A275-741114801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9435" y="2386993"/>
            <a:ext cx="3670276" cy="266700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FEBB089D-1497-4AB0-8824-DA63289D45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0428" y="2379533"/>
            <a:ext cx="3856156" cy="2743200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68474574-3C65-47EB-B8D5-0BB6366D2E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2161" y="2352525"/>
            <a:ext cx="4012689" cy="274320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7A83522F-DA7C-494F-BE0E-A791D1C894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6090" y="2364033"/>
            <a:ext cx="4311923" cy="2797722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1AD65683-8E70-4E15-8C3E-ABFE0323D3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824" y="2399497"/>
            <a:ext cx="4444624" cy="2811654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71A197FF-4A59-4EE5-9440-7738F8C18A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5649" y="2037825"/>
            <a:ext cx="4413566" cy="3494145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1F9BF867-6F75-4241-9003-BF9E8A75D6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2033424"/>
            <a:ext cx="4508310" cy="347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9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dirty="0"/>
              <a:t> /  evalueserve.com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6453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Decision Trees (DT)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Pyth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Quiz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Random Forest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239082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F in Python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839988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in R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Quiz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082107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odel Selecti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FF94E49-ADF9-4CF4-B191-3D1435501A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915ED6E-C515-4F14-A49E-1B79F456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4792863-8D44-44E2-B709-D71F280C9B5E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9176088B-0455-450C-96F6-507AECAA78BB}"/>
              </a:ext>
            </a:extLst>
          </p:cNvPr>
          <p:cNvSpPr/>
          <p:nvPr/>
        </p:nvSpPr>
        <p:spPr bwMode="auto">
          <a:xfrm>
            <a:off x="2438400" y="1822036"/>
            <a:ext cx="4038600" cy="16069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600" b="1" dirty="0" err="1"/>
              <a:t>Now</a:t>
            </a:r>
            <a:r>
              <a:rPr lang="es-CL" sz="1600" b="1" dirty="0"/>
              <a:t>, </a:t>
            </a:r>
            <a:r>
              <a:rPr lang="es-CL" sz="1600" b="1" dirty="0" err="1"/>
              <a:t>let’s</a:t>
            </a:r>
            <a:r>
              <a:rPr lang="es-CL" sz="1600" b="1" dirty="0"/>
              <a:t> </a:t>
            </a:r>
            <a:r>
              <a:rPr lang="es-CL" sz="1600" b="1" dirty="0" err="1"/>
              <a:t>follow</a:t>
            </a:r>
            <a:r>
              <a:rPr lang="es-CL" sz="1600" b="1" dirty="0"/>
              <a:t> Ariel, as he </a:t>
            </a:r>
            <a:r>
              <a:rPr lang="es-CL" sz="1600" b="1" dirty="0" err="1"/>
              <a:t>is</a:t>
            </a:r>
            <a:r>
              <a:rPr lang="es-CL" sz="1600" b="1" dirty="0"/>
              <a:t> </a:t>
            </a:r>
            <a:r>
              <a:rPr lang="es-CL" sz="1600" b="1" dirty="0" err="1"/>
              <a:t>going</a:t>
            </a:r>
            <a:r>
              <a:rPr lang="es-CL" sz="1600" b="1" dirty="0"/>
              <a:t> </a:t>
            </a:r>
            <a:r>
              <a:rPr lang="es-CL" sz="1600" b="1" dirty="0" err="1"/>
              <a:t>to</a:t>
            </a:r>
            <a:r>
              <a:rPr lang="es-CL" sz="1600" b="1" dirty="0"/>
              <a:t> </a:t>
            </a:r>
            <a:r>
              <a:rPr lang="es-CL" sz="1600" b="1" dirty="0" err="1"/>
              <a:t>teach</a:t>
            </a:r>
            <a:r>
              <a:rPr lang="es-CL" sz="1600" b="1" dirty="0"/>
              <a:t> </a:t>
            </a:r>
            <a:r>
              <a:rPr lang="es-CL" sz="1600" b="1" dirty="0" err="1"/>
              <a:t>us</a:t>
            </a:r>
            <a:r>
              <a:rPr lang="es-CL" sz="1600" b="1" dirty="0"/>
              <a:t> </a:t>
            </a:r>
            <a:r>
              <a:rPr lang="es-CL" sz="1600" b="1" dirty="0" err="1"/>
              <a:t>how</a:t>
            </a:r>
            <a:r>
              <a:rPr lang="es-CL" sz="1600" b="1" dirty="0"/>
              <a:t> </a:t>
            </a:r>
            <a:r>
              <a:rPr lang="es-CL" sz="1600" b="1" dirty="0" err="1"/>
              <a:t>to</a:t>
            </a:r>
            <a:r>
              <a:rPr lang="es-CL" sz="1600" b="1" dirty="0"/>
              <a:t> </a:t>
            </a:r>
            <a:r>
              <a:rPr lang="es-CL" sz="1600" b="1" dirty="0" err="1"/>
              <a:t>work</a:t>
            </a:r>
            <a:r>
              <a:rPr lang="es-CL" sz="1600" b="1" dirty="0"/>
              <a:t> </a:t>
            </a:r>
            <a:r>
              <a:rPr lang="es-CL" sz="1600" b="1" dirty="0" err="1"/>
              <a:t>with</a:t>
            </a:r>
            <a:r>
              <a:rPr lang="es-CL" sz="1600" b="1" dirty="0"/>
              <a:t> MLR </a:t>
            </a:r>
          </a:p>
          <a:p>
            <a:endParaRPr lang="es-CL" sz="1600" b="1" dirty="0"/>
          </a:p>
          <a:p>
            <a:r>
              <a:rPr lang="es-CL" sz="1600" b="1" dirty="0"/>
              <a:t>In </a:t>
            </a:r>
            <a:r>
              <a:rPr lang="es-CL" sz="1600" b="1" dirty="0" err="1"/>
              <a:t>Rstudio</a:t>
            </a:r>
            <a:r>
              <a:rPr lang="es-CL" sz="1600" b="1" dirty="0"/>
              <a:t>!</a:t>
            </a:r>
            <a:endParaRPr lang="en-US" sz="1600" b="1" dirty="0"/>
          </a:p>
        </p:txBody>
      </p:sp>
      <p:pic>
        <p:nvPicPr>
          <p:cNvPr id="9" name="Picture 4" descr="Image result for rstudio">
            <a:extLst>
              <a:ext uri="{FF2B5EF4-FFF2-40B4-BE49-F238E27FC236}">
                <a16:creationId xmlns:a16="http://schemas.microsoft.com/office/drawing/2014/main" id="{4FE073AA-9465-403C-B33D-04A2E9FFE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810000"/>
            <a:ext cx="3810000" cy="1547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1645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F346006-3570-41CE-B5F2-F84BF41F2E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163EDCB-85A3-4A04-A0F6-DBBCE37B4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4D03DA-9CE2-4F50-AA89-7F802723C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781" y="558278"/>
            <a:ext cx="8072438" cy="70961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Backwards Elimination in R</a:t>
            </a:r>
            <a:endParaRPr lang="en-US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95CCAA7-7F95-45B5-AC54-6BB190A9963F}"/>
              </a:ext>
            </a:extLst>
          </p:cNvPr>
          <p:cNvSpPr/>
          <p:nvPr/>
        </p:nvSpPr>
        <p:spPr>
          <a:xfrm>
            <a:off x="838200" y="1325206"/>
            <a:ext cx="853440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backwardElimination</a:t>
            </a:r>
            <a:r>
              <a:rPr lang="en-US" dirty="0"/>
              <a:t> &lt;- function(x, </a:t>
            </a:r>
            <a:r>
              <a:rPr lang="en-US" dirty="0" err="1"/>
              <a:t>sl</a:t>
            </a:r>
            <a:r>
              <a:rPr lang="en-US" dirty="0"/>
              <a:t>) {</a:t>
            </a:r>
          </a:p>
          <a:p>
            <a:r>
              <a:rPr lang="en-US" dirty="0"/>
              <a:t>  </a:t>
            </a:r>
            <a:r>
              <a:rPr lang="en-US" dirty="0" err="1"/>
              <a:t>numVars</a:t>
            </a:r>
            <a:r>
              <a:rPr lang="en-US" dirty="0"/>
              <a:t> = length(x)</a:t>
            </a:r>
          </a:p>
          <a:p>
            <a:r>
              <a:rPr lang="en-US" dirty="0"/>
              <a:t>  for (</a:t>
            </a:r>
            <a:r>
              <a:rPr lang="en-US" dirty="0" err="1"/>
              <a:t>i</a:t>
            </a:r>
            <a:r>
              <a:rPr lang="en-US" dirty="0"/>
              <a:t> in c(1:numVars)){</a:t>
            </a:r>
          </a:p>
          <a:p>
            <a:r>
              <a:rPr lang="en-US" dirty="0"/>
              <a:t>    regressor = </a:t>
            </a:r>
            <a:r>
              <a:rPr lang="en-US" dirty="0" err="1"/>
              <a:t>lm</a:t>
            </a:r>
            <a:r>
              <a:rPr lang="en-US" dirty="0"/>
              <a:t>(formula = Profit ~ ., data = x)</a:t>
            </a:r>
          </a:p>
          <a:p>
            <a:r>
              <a:rPr lang="en-US" dirty="0"/>
              <a:t>    </a:t>
            </a:r>
            <a:r>
              <a:rPr lang="en-US" dirty="0" err="1"/>
              <a:t>maxVar</a:t>
            </a:r>
            <a:r>
              <a:rPr lang="en-US" dirty="0"/>
              <a:t> = max(</a:t>
            </a:r>
            <a:r>
              <a:rPr lang="en-US" dirty="0" err="1"/>
              <a:t>coef</a:t>
            </a:r>
            <a:r>
              <a:rPr lang="en-US" dirty="0"/>
              <a:t>(summary(regressor))[c(2:numVars), "</a:t>
            </a:r>
            <a:r>
              <a:rPr lang="en-US" dirty="0" err="1"/>
              <a:t>Pr</a:t>
            </a:r>
            <a:r>
              <a:rPr lang="en-US" dirty="0"/>
              <a:t>(&gt;|t|)"])</a:t>
            </a:r>
          </a:p>
          <a:p>
            <a:r>
              <a:rPr lang="en-US" dirty="0"/>
              <a:t>    if (</a:t>
            </a:r>
            <a:r>
              <a:rPr lang="en-US" dirty="0" err="1"/>
              <a:t>maxVar</a:t>
            </a:r>
            <a:r>
              <a:rPr lang="en-US" dirty="0"/>
              <a:t> &gt; </a:t>
            </a:r>
            <a:r>
              <a:rPr lang="en-US" dirty="0" err="1"/>
              <a:t>sl</a:t>
            </a:r>
            <a:r>
              <a:rPr lang="en-US" dirty="0"/>
              <a:t>){</a:t>
            </a:r>
          </a:p>
          <a:p>
            <a:r>
              <a:rPr lang="en-US" dirty="0"/>
              <a:t>      j = which(</a:t>
            </a:r>
            <a:r>
              <a:rPr lang="en-US" dirty="0" err="1"/>
              <a:t>coef</a:t>
            </a:r>
            <a:r>
              <a:rPr lang="en-US" dirty="0"/>
              <a:t>(summary(regressor))[c(2:numVars), "</a:t>
            </a:r>
            <a:r>
              <a:rPr lang="en-US" dirty="0" err="1"/>
              <a:t>Pr</a:t>
            </a:r>
            <a:r>
              <a:rPr lang="en-US" dirty="0"/>
              <a:t>(&gt;|t|)"] == </a:t>
            </a:r>
            <a:r>
              <a:rPr lang="en-US" dirty="0" err="1"/>
              <a:t>maxVar</a:t>
            </a:r>
            <a:r>
              <a:rPr lang="en-US" dirty="0"/>
              <a:t>)</a:t>
            </a:r>
          </a:p>
          <a:p>
            <a:r>
              <a:rPr lang="en-US" dirty="0"/>
              <a:t>      x = x[, -j]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    </a:t>
            </a:r>
            <a:r>
              <a:rPr lang="en-US" dirty="0" err="1"/>
              <a:t>numVars</a:t>
            </a:r>
            <a:r>
              <a:rPr lang="en-US" dirty="0"/>
              <a:t> = </a:t>
            </a:r>
            <a:r>
              <a:rPr lang="en-US" dirty="0" err="1"/>
              <a:t>numVars</a:t>
            </a:r>
            <a:r>
              <a:rPr lang="en-US" dirty="0"/>
              <a:t> - 1</a:t>
            </a:r>
          </a:p>
          <a:p>
            <a:r>
              <a:rPr lang="en-US" dirty="0"/>
              <a:t>  }</a:t>
            </a:r>
          </a:p>
          <a:p>
            <a:r>
              <a:rPr lang="en-US" dirty="0"/>
              <a:t>  return(summary(regressor))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SL = 0.05</a:t>
            </a:r>
          </a:p>
          <a:p>
            <a:r>
              <a:rPr lang="en-US" dirty="0"/>
              <a:t>dataset = dataset[, c(1,2,3,4,5)]</a:t>
            </a:r>
          </a:p>
          <a:p>
            <a:r>
              <a:rPr lang="en-US" dirty="0" err="1"/>
              <a:t>backwardElimination</a:t>
            </a:r>
            <a:r>
              <a:rPr lang="en-US" dirty="0"/>
              <a:t>(</a:t>
            </a:r>
            <a:r>
              <a:rPr lang="en-US" dirty="0" err="1"/>
              <a:t>training_set</a:t>
            </a:r>
            <a:r>
              <a:rPr lang="en-US" dirty="0"/>
              <a:t>, SL)</a:t>
            </a:r>
          </a:p>
        </p:txBody>
      </p:sp>
    </p:spTree>
    <p:extLst>
      <p:ext uri="{BB962C8B-B14F-4D97-AF65-F5344CB8AC3E}">
        <p14:creationId xmlns:p14="http://schemas.microsoft.com/office/powerpoint/2010/main" val="13793011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7A368D5-C591-4C7F-ADB2-B7F3AFC692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1383513"/>
            <a:ext cx="5677760" cy="261610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55F141DB-1199-41DB-8E99-45383CD89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800" y="3945339"/>
            <a:ext cx="5677760" cy="2331867"/>
          </a:xfrm>
          <a:prstGeom prst="rect">
            <a:avLst/>
          </a:prstGeom>
        </p:spPr>
      </p:pic>
      <p:sp>
        <p:nvSpPr>
          <p:cNvPr id="13" name="Elipse 12">
            <a:extLst>
              <a:ext uri="{FF2B5EF4-FFF2-40B4-BE49-F238E27FC236}">
                <a16:creationId xmlns:a16="http://schemas.microsoft.com/office/drawing/2014/main" id="{5EBE8885-5B61-4066-8032-587DC41A2508}"/>
              </a:ext>
            </a:extLst>
          </p:cNvPr>
          <p:cNvSpPr/>
          <p:nvPr/>
        </p:nvSpPr>
        <p:spPr bwMode="auto">
          <a:xfrm>
            <a:off x="685800" y="270271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D13139D0-B6B9-4D43-9987-B08E3B140098}"/>
              </a:ext>
            </a:extLst>
          </p:cNvPr>
          <p:cNvSpPr/>
          <p:nvPr/>
        </p:nvSpPr>
        <p:spPr bwMode="auto">
          <a:xfrm>
            <a:off x="685800" y="491774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21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9AAB5377-81A2-4E76-B12E-A91F54549B27}"/>
              </a:ext>
            </a:extLst>
          </p:cNvPr>
          <p:cNvSpPr/>
          <p:nvPr/>
        </p:nvSpPr>
        <p:spPr bwMode="auto">
          <a:xfrm>
            <a:off x="685800" y="2691566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135D34C9-B9C8-4A1B-817F-E4C6A000968C}"/>
              </a:ext>
            </a:extLst>
          </p:cNvPr>
          <p:cNvSpPr/>
          <p:nvPr/>
        </p:nvSpPr>
        <p:spPr bwMode="auto">
          <a:xfrm>
            <a:off x="762000" y="5001071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51BC650-E47C-4D7E-82E6-8F215F50E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580" y="1549644"/>
            <a:ext cx="6172200" cy="207532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0DBFB51-DA5B-44A2-9ADB-4814D73AE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7494" y="3505200"/>
            <a:ext cx="6075285" cy="264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98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EF50D9A-EB98-47C7-AEE3-26FB8E334B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890" y="2528849"/>
            <a:ext cx="6537407" cy="2027675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A504E222-C51B-4ACD-AF52-6122EE95BE4A}"/>
              </a:ext>
            </a:extLst>
          </p:cNvPr>
          <p:cNvSpPr/>
          <p:nvPr/>
        </p:nvSpPr>
        <p:spPr bwMode="auto">
          <a:xfrm>
            <a:off x="8432282" y="3218702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51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E3C989E-11C5-4316-A494-BA7C05122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447800"/>
            <a:ext cx="6781800" cy="4109519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02390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3068" y="2331313"/>
            <a:ext cx="8305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Logistic Regression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  <p:pic>
        <p:nvPicPr>
          <p:cNvPr id="5" name="Picture 4" descr="Image result for linear regression memes">
            <a:extLst>
              <a:ext uri="{FF2B5EF4-FFF2-40B4-BE49-F238E27FC236}">
                <a16:creationId xmlns:a16="http://schemas.microsoft.com/office/drawing/2014/main" id="{F171D8F9-9A2A-43D5-8398-C80C2CA7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57437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F856A71-F391-481C-AC62-51F31095A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974" y="1716897"/>
            <a:ext cx="8072469" cy="342420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0EF5EC15-3BDD-4CF0-9325-CEA037D1C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557" y="1226021"/>
            <a:ext cx="8057146" cy="499979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F98D700C-25A3-411E-BAD7-F2EB02935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024" y="1299318"/>
            <a:ext cx="7911952" cy="490037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E73F754A-652B-49B0-9522-7B11001B1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361" y="1273492"/>
            <a:ext cx="8001920" cy="4875018"/>
          </a:xfrm>
          <a:prstGeom prst="rect">
            <a:avLst/>
          </a:prstGeom>
        </p:spPr>
      </p:pic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13B33E33-8CBC-4D6C-8F18-514D2CA17882}"/>
              </a:ext>
            </a:extLst>
          </p:cNvPr>
          <p:cNvSpPr/>
          <p:nvPr/>
        </p:nvSpPr>
        <p:spPr bwMode="auto">
          <a:xfrm>
            <a:off x="616024" y="1398355"/>
            <a:ext cx="2998639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The </a:t>
            </a:r>
            <a:r>
              <a:rPr lang="es-CL" sz="1200" kern="0" dirty="0" err="1"/>
              <a:t>splits</a:t>
            </a:r>
            <a:r>
              <a:rPr lang="es-CL" sz="1200" kern="0" dirty="0"/>
              <a:t> </a:t>
            </a:r>
            <a:r>
              <a:rPr lang="es-CL" sz="1200" kern="0" dirty="0" err="1"/>
              <a:t>pretend</a:t>
            </a:r>
            <a:r>
              <a:rPr lang="es-CL" sz="1200" kern="0" dirty="0"/>
              <a:t> </a:t>
            </a:r>
            <a:r>
              <a:rPr lang="es-CL" sz="1200" kern="0" dirty="0" err="1"/>
              <a:t>to</a:t>
            </a:r>
            <a:r>
              <a:rPr lang="es-CL" sz="1200" kern="0" dirty="0"/>
              <a:t> </a:t>
            </a:r>
            <a:r>
              <a:rPr lang="es-CL" sz="1200" kern="0" dirty="0" err="1"/>
              <a:t>minimize</a:t>
            </a:r>
            <a:r>
              <a:rPr lang="es-CL" sz="1200" kern="0" dirty="0"/>
              <a:t> </a:t>
            </a:r>
            <a:r>
              <a:rPr lang="es-CL" sz="1200" kern="0" dirty="0" err="1"/>
              <a:t>entropy</a:t>
            </a:r>
            <a:r>
              <a:rPr lang="es-CL" sz="1200" kern="0" dirty="0"/>
              <a:t>. </a:t>
            </a:r>
            <a:r>
              <a:rPr lang="es-CL" sz="1200" kern="0" dirty="0" err="1"/>
              <a:t>What</a:t>
            </a:r>
            <a:r>
              <a:rPr lang="es-CL" sz="1200" kern="0" dirty="0"/>
              <a:t> </a:t>
            </a:r>
            <a:r>
              <a:rPr lang="es-CL" sz="1200" kern="0" dirty="0" err="1"/>
              <a:t>does</a:t>
            </a:r>
            <a:r>
              <a:rPr lang="es-CL" sz="1200" kern="0" dirty="0"/>
              <a:t> </a:t>
            </a:r>
            <a:r>
              <a:rPr lang="es-CL" sz="1200" kern="0" dirty="0" err="1"/>
              <a:t>that</a:t>
            </a:r>
            <a:r>
              <a:rPr lang="es-CL" sz="1200" kern="0" dirty="0"/>
              <a:t> mean?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9AEA6751-F005-4D35-A4B3-E3FE04733D43}"/>
              </a:ext>
            </a:extLst>
          </p:cNvPr>
          <p:cNvSpPr/>
          <p:nvPr/>
        </p:nvSpPr>
        <p:spPr bwMode="auto">
          <a:xfrm>
            <a:off x="4953000" y="1398355"/>
            <a:ext cx="3200400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Often interpreted as the degree of disorder or randomness in the system.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id="{17F44E79-D614-4958-AED6-52E0773945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248" y="1247370"/>
            <a:ext cx="8298904" cy="487501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495D0F32-CDC0-4717-AA44-26E9E3D8DE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08" y="1223089"/>
            <a:ext cx="8306468" cy="496942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54DBEE60-5140-48A3-B92E-F410316ADE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32" y="1396387"/>
            <a:ext cx="8078894" cy="4623413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FF0A977-ABA9-458E-AAD8-F2092A601C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028" y="1299318"/>
            <a:ext cx="8314203" cy="4720481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id="{51D65C62-CD4D-4B0A-9BE5-332D850E1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13" y="1506548"/>
            <a:ext cx="8137615" cy="453459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2345285-377B-4A75-9CB0-FDA940E0A1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2644" y="1247370"/>
            <a:ext cx="8372401" cy="482854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04B118B-D40E-429F-89D6-D74B7F29AE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1974" y="1223089"/>
            <a:ext cx="8116654" cy="482854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4677943-D062-4FAB-816A-0BF79D5C66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2644" y="1372764"/>
            <a:ext cx="8165332" cy="476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1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662" y="1884841"/>
            <a:ext cx="2867025" cy="93345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0DBF2F85-BE75-407E-BF50-E253DDBD7551}"/>
              </a:ext>
            </a:extLst>
          </p:cNvPr>
          <p:cNvSpPr/>
          <p:nvPr/>
        </p:nvSpPr>
        <p:spPr bwMode="auto">
          <a:xfrm>
            <a:off x="4416425" y="136761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06A3562-14C3-48A5-85B8-3CF969FA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051" y="3727112"/>
            <a:ext cx="3710949" cy="904875"/>
          </a:xfrm>
          <a:prstGeom prst="rect">
            <a:avLst/>
          </a:prstGeom>
        </p:spPr>
      </p:pic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800600" y="3683405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86268" y="1852492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84841" y="370305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4880" y="58270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5317670" y="2326949"/>
            <a:ext cx="3678657" cy="11041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L</a:t>
            </a:r>
            <a:r>
              <a:rPr lang="en-US" sz="1200" kern="0" dirty="0" err="1"/>
              <a:t>et’s</a:t>
            </a:r>
            <a:r>
              <a:rPr lang="en-US" sz="1200" kern="0" dirty="0"/>
              <a:t> talk a little bit about the parameters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fit_intercept</a:t>
            </a:r>
            <a:r>
              <a:rPr lang="en-US" sz="1200" kern="0" dirty="0"/>
              <a:t>: When shall we use it?</a:t>
            </a:r>
          </a:p>
          <a:p>
            <a:pPr algn="just"/>
            <a:r>
              <a:rPr lang="en-US" sz="1200" kern="0" dirty="0"/>
              <a:t>-normalize: What does this mean?</a:t>
            </a:r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n_jobs</a:t>
            </a:r>
            <a:r>
              <a:rPr lang="en-US" sz="1200" kern="0" dirty="0"/>
              <a:t>: This could optimize the process. Why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8E658D7-FDE0-4E5D-B982-6D28060D06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312" y="1380185"/>
            <a:ext cx="7134225" cy="769534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73387259-88E1-4C47-B962-70CEB80EB642}"/>
              </a:ext>
            </a:extLst>
          </p:cNvPr>
          <p:cNvSpPr/>
          <p:nvPr/>
        </p:nvSpPr>
        <p:spPr>
          <a:xfrm>
            <a:off x="155575" y="130328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4FA3CC4-FD9F-453E-ADC5-E2F9E63BB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50" y="2485128"/>
            <a:ext cx="4408431" cy="787788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A78EBD9B-11F2-4F0D-A95A-E8547138700B}"/>
              </a:ext>
            </a:extLst>
          </p:cNvPr>
          <p:cNvSpPr/>
          <p:nvPr/>
        </p:nvSpPr>
        <p:spPr>
          <a:xfrm>
            <a:off x="155575" y="2349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6C68E2D5-D8CE-4483-AFF9-DFC87E48A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678" y="3493250"/>
            <a:ext cx="4057650" cy="466725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0E94490-7EB2-43B2-B873-248A146D0AB7}"/>
              </a:ext>
            </a:extLst>
          </p:cNvPr>
          <p:cNvSpPr/>
          <p:nvPr/>
        </p:nvSpPr>
        <p:spPr>
          <a:xfrm>
            <a:off x="5386299" y="4383345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67612F12-4199-4E51-8D9B-72B82FC38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5155" y="3614336"/>
            <a:ext cx="934513" cy="2549249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A6BEE094-4B37-441D-B1B8-A399A246A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710" y="3614336"/>
            <a:ext cx="1000505" cy="2549249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5A3163C-ADE7-484A-94B1-D112BCFCF779}"/>
              </a:ext>
            </a:extLst>
          </p:cNvPr>
          <p:cNvSpPr/>
          <p:nvPr/>
        </p:nvSpPr>
        <p:spPr>
          <a:xfrm>
            <a:off x="128945" y="3236008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47ECC9F-6CB1-4F22-88E8-94429B528F7B}"/>
              </a:ext>
            </a:extLst>
          </p:cNvPr>
          <p:cNvSpPr/>
          <p:nvPr/>
        </p:nvSpPr>
        <p:spPr>
          <a:xfrm>
            <a:off x="6840244" y="4383345"/>
            <a:ext cx="633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'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CD8BD60E-FD54-43B4-A26D-0A492294F3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0943" y="4400511"/>
            <a:ext cx="2381845" cy="161107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454C6958-3FFA-4764-A5E0-FCAA1DDD52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2788" y="4398772"/>
            <a:ext cx="2381846" cy="16110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FD8439E0-BD52-47B4-9FE5-0A1C6D0EA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391" y="4169888"/>
            <a:ext cx="3551375" cy="2072325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5C608908-6DE1-452C-B797-E1BCAAD080A3}"/>
              </a:ext>
            </a:extLst>
          </p:cNvPr>
          <p:cNvSpPr/>
          <p:nvPr/>
        </p:nvSpPr>
        <p:spPr>
          <a:xfrm>
            <a:off x="155575" y="472171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/>
      <p:bldP spid="26" grpId="0"/>
      <p:bldP spid="29" grpId="0"/>
      <p:bldP spid="33" grpId="0"/>
      <p:bldP spid="34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661460" y="1439457"/>
            <a:ext cx="39624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ich is the library we need for read.csv?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27598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3A409EA-FA28-4469-9040-DC3FAF803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90" y="1497452"/>
            <a:ext cx="3766995" cy="44616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DADE47E-91C1-418C-A3A5-9A423A7C7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157137"/>
            <a:ext cx="4267200" cy="1320491"/>
          </a:xfrm>
          <a:prstGeom prst="rect">
            <a:avLst/>
          </a:prstGeom>
        </p:spPr>
      </p:pic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081E5D08-736D-46EC-B63B-80B9DF913F23}"/>
              </a:ext>
            </a:extLst>
          </p:cNvPr>
          <p:cNvSpPr/>
          <p:nvPr/>
        </p:nvSpPr>
        <p:spPr bwMode="auto">
          <a:xfrm>
            <a:off x="5132309" y="2337746"/>
            <a:ext cx="3962400" cy="776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Remember, the library </a:t>
            </a:r>
            <a:r>
              <a:rPr lang="en-US" sz="1400" kern="0" dirty="0" err="1"/>
              <a:t>caTools</a:t>
            </a:r>
            <a:r>
              <a:rPr lang="en-US" sz="1400" kern="0" dirty="0"/>
              <a:t> is required for splitting the dataset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B6D2928-409A-4460-846F-32B9372FB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3593836"/>
            <a:ext cx="3912037" cy="552575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6C1AC668-2C3F-4601-9BA0-14C3DB6F8FD7}"/>
              </a:ext>
            </a:extLst>
          </p:cNvPr>
          <p:cNvSpPr/>
          <p:nvPr/>
        </p:nvSpPr>
        <p:spPr>
          <a:xfrm>
            <a:off x="169443" y="350732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A4532294-9AE0-41C0-9F44-F6714451B9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9361" y="3581400"/>
            <a:ext cx="4134926" cy="2362200"/>
          </a:xfrm>
          <a:prstGeom prst="rect">
            <a:avLst/>
          </a:prstGeom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D0C8C4F9-0B41-42C1-8DBE-21E609A52C80}"/>
              </a:ext>
            </a:extLst>
          </p:cNvPr>
          <p:cNvSpPr/>
          <p:nvPr/>
        </p:nvSpPr>
        <p:spPr bwMode="auto">
          <a:xfrm>
            <a:off x="564887" y="4282929"/>
            <a:ext cx="3962400" cy="18478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Let’s talk about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Residuals		-Coefficients</a:t>
            </a:r>
          </a:p>
          <a:p>
            <a:pPr algn="just"/>
            <a:r>
              <a:rPr lang="en-US" sz="1200" kern="0" dirty="0"/>
              <a:t>-Estimates		-Std. Error</a:t>
            </a:r>
          </a:p>
          <a:p>
            <a:pPr algn="just"/>
            <a:r>
              <a:rPr lang="en-US" sz="1200" kern="0" dirty="0"/>
              <a:t>-t value		-Significance codes</a:t>
            </a:r>
          </a:p>
          <a:p>
            <a:pPr algn="just"/>
            <a:r>
              <a:rPr lang="en-US" sz="1200" kern="0" dirty="0"/>
              <a:t>-Degrees of freedom	-R-squared</a:t>
            </a:r>
          </a:p>
          <a:p>
            <a:pPr algn="just"/>
            <a:r>
              <a:rPr lang="en-US" sz="1200" kern="0" dirty="0"/>
              <a:t>-Adjusted R-Squared	-F-statistic</a:t>
            </a:r>
          </a:p>
          <a:p>
            <a:pPr algn="just"/>
            <a:r>
              <a:rPr lang="en-US" sz="1200" kern="0" dirty="0"/>
              <a:t>-p-value*</a:t>
            </a:r>
          </a:p>
          <a:p>
            <a:pPr algn="just"/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" grpId="0"/>
      <p:bldP spid="15" grpId="0"/>
      <p:bldP spid="17" grpId="0" animBg="1"/>
      <p:bldP spid="20" grpId="0"/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037604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016437-5923-49E8-A41C-86513DCC7E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355" y="1512414"/>
            <a:ext cx="3586070" cy="39147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735E93D-568B-4404-A977-22293B270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355" y="2187028"/>
            <a:ext cx="7816767" cy="322720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9003F46-916C-4B18-87C9-DE85CAEECB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794" y="2861642"/>
            <a:ext cx="4006557" cy="224629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F36CE7B3-E043-4F1E-A49D-A8B698BFD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5651" y="2861642"/>
            <a:ext cx="4006556" cy="2246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4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4BA295C-F954-4B10-9D8A-9A970561E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77" y="1259199"/>
            <a:ext cx="7010400" cy="2157964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A9C0018-642C-4EF1-8603-E13C87712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89" y="3124200"/>
            <a:ext cx="7169421" cy="3211620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541C5786-1B2B-4918-AAF1-23606ADEBD6E}"/>
              </a:ext>
            </a:extLst>
          </p:cNvPr>
          <p:cNvSpPr/>
          <p:nvPr/>
        </p:nvSpPr>
        <p:spPr bwMode="auto">
          <a:xfrm>
            <a:off x="173477" y="2514600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72E2A9AC-338A-4BCB-B098-4316E7EDE02E}"/>
              </a:ext>
            </a:extLst>
          </p:cNvPr>
          <p:cNvSpPr/>
          <p:nvPr/>
        </p:nvSpPr>
        <p:spPr bwMode="auto">
          <a:xfrm>
            <a:off x="173477" y="4594495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13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ABE582C-7247-4544-8BC9-8FA17BB0F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0" y="1229271"/>
            <a:ext cx="6668201" cy="303792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907393C9-8189-47E9-85F5-45D1779A4F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29" y="3807419"/>
            <a:ext cx="6309371" cy="2466001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32F6330A-742C-487C-99CA-7B6C84EDB7E8}"/>
              </a:ext>
            </a:extLst>
          </p:cNvPr>
          <p:cNvSpPr/>
          <p:nvPr/>
        </p:nvSpPr>
        <p:spPr bwMode="auto">
          <a:xfrm>
            <a:off x="173477" y="2514600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EB91ED9D-6881-482B-9B92-9F0D69C5B84D}"/>
              </a:ext>
            </a:extLst>
          </p:cNvPr>
          <p:cNvSpPr/>
          <p:nvPr/>
        </p:nvSpPr>
        <p:spPr bwMode="auto">
          <a:xfrm>
            <a:off x="173477" y="525939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51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391</TotalTime>
  <Words>1138</Words>
  <Application>Microsoft Office PowerPoint</Application>
  <PresentationFormat>Presentación en pantalla (4:3)</PresentationFormat>
  <Paragraphs>260</Paragraphs>
  <Slides>2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6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ultiple Linear Regression</vt:lpstr>
      <vt:lpstr>How to build a model?</vt:lpstr>
      <vt:lpstr>Backward Elimination</vt:lpstr>
      <vt:lpstr>Forward Selection</vt:lpstr>
      <vt:lpstr>Stepwise Selection</vt:lpstr>
      <vt:lpstr>Presentación de PowerPoint</vt:lpstr>
      <vt:lpstr>Presentación de PowerPoint</vt:lpstr>
      <vt:lpstr>Presentación de PowerPoint</vt:lpstr>
      <vt:lpstr>Presentación de PowerPoint</vt:lpstr>
      <vt:lpstr>Backwards Elimination in 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195</cp:revision>
  <dcterms:created xsi:type="dcterms:W3CDTF">2015-08-27T23:57:25Z</dcterms:created>
  <dcterms:modified xsi:type="dcterms:W3CDTF">2019-06-10T00:37:25Z</dcterms:modified>
</cp:coreProperties>
</file>